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144000" cy="6858000" type="screen4x3"/>
  <p:notesSz cx="6858000" cy="9144000"/>
  <p:custDataLst>
    <p:tags r:id="rId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44" autoAdjust="0"/>
    <p:restoredTop sz="94692" autoAdjust="0"/>
  </p:normalViewPr>
  <p:slideViewPr>
    <p:cSldViewPr showGuides="1">
      <p:cViewPr>
        <p:scale>
          <a:sx n="66" d="100"/>
          <a:sy n="66" d="100"/>
        </p:scale>
        <p:origin x="-1326" y="-162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1107556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650912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5687188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836707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84324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697524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21721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5571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840512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961229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8126720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6793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75141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2" name="think-cell Slide" r:id="rId17" imgW="360" imgH="360" progId="">
              <p:embed/>
            </p:oleObj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>
              <a:latin typeface="Arial"/>
              <a:cs typeface="Arial"/>
              <a:sym typeface="Arial"/>
            </a:endParaRPr>
          </a:p>
        </p:txBody>
      </p:sp>
      <p:sp>
        <p:nvSpPr>
          <p:cNvPr id="5" name="Rectangle 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51520" y="188640"/>
            <a:ext cx="8280920" cy="277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ЧТО ВАЖНЕЕ ДЛЯ УЛУЧШЕНИЯ ГОРОДСКОЙ СРЕДЫ МФЦ? </a:t>
            </a:r>
            <a:endParaRPr kumimoji="0" lang="en-US" sz="19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  <a:sym typeface="FreeSetC Bold"/>
            </a:endParaRPr>
          </a:p>
        </p:txBody>
      </p:sp>
      <p:graphicFrame>
        <p:nvGraphicFramePr>
          <p:cNvPr id="6" name="Объект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884805894"/>
              </p:ext>
            </p:extLst>
          </p:nvPr>
        </p:nvGraphicFramePr>
        <p:xfrm>
          <a:off x="4097338" y="698500"/>
          <a:ext cx="3600416" cy="5857834"/>
        </p:xfrm>
        <a:graphic>
          <a:graphicData uri="http://schemas.openxmlformats.org/presentationml/2006/ole">
            <p:oleObj spid="_x0000_s1033" name="Диаграмма" r:id="rId18" imgW="3600416" imgH="5857834" progId="MSGraph.Chart.8">
              <p:embed followColorScheme="full"/>
            </p:oleObj>
          </a:graphicData>
        </a:graphic>
      </p:graphicFrame>
      <p:sp>
        <p:nvSpPr>
          <p:cNvPr id="32" name="Прямоугольник 31"/>
          <p:cNvSpPr/>
          <p:nvPr>
            <p:custDataLst>
              <p:tags r:id="rId4"/>
            </p:custDataLst>
          </p:nvPr>
        </p:nvSpPr>
        <p:spPr bwMode="auto">
          <a:xfrm>
            <a:off x="7351713" y="1174750"/>
            <a:ext cx="55562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5C923FA-3ED4-40D3-BBD0-C3874503FF3C}" type="datetime'''''''2''''''''8''''.''''''''''''''9''''''''5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28.95</a:t>
            </a:fld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ru-RU" sz="12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5"/>
            </p:custDataLst>
          </p:nvPr>
        </p:nvSpPr>
        <p:spPr bwMode="auto">
          <a:xfrm>
            <a:off x="806450" y="5788025"/>
            <a:ext cx="3341688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Москва – пилот реформы правоохранительной</a:t>
            </a:r>
            <a:b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и судебной системы страны</a:t>
            </a:r>
            <a:endParaRPr lang="ru-RU" sz="12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Прямоугольник 36"/>
          <p:cNvSpPr/>
          <p:nvPr>
            <p:custDataLst>
              <p:tags r:id="rId6"/>
            </p:custDataLst>
          </p:nvPr>
        </p:nvSpPr>
        <p:spPr bwMode="auto">
          <a:xfrm>
            <a:off x="7627938" y="5880100"/>
            <a:ext cx="55562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5A1A891-C974-4427-A492-8C0F27456162}" type="datetime'''''''''''''3''1''''''''''''''''''.''''5''''''''''''8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31.58</a:t>
            </a:fld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ru-RU" sz="12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7"/>
            </p:custDataLst>
          </p:nvPr>
        </p:nvSpPr>
        <p:spPr bwMode="auto">
          <a:xfrm>
            <a:off x="1633538" y="4845050"/>
            <a:ext cx="2514600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Проект «Москва – международный </a:t>
            </a:r>
            <a:b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культурный центр»</a:t>
            </a:r>
            <a:endParaRPr lang="ru-RU" sz="12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8"/>
            </p:custDataLst>
          </p:nvPr>
        </p:nvSpPr>
        <p:spPr bwMode="auto">
          <a:xfrm>
            <a:off x="4837113" y="4937125"/>
            <a:ext cx="471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9BE143E-B741-40AE-9646-1CAF24052801}" type="datetime'5''''.''''''''''''''''2''''''''''6''''''''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5.26</a:t>
            </a:fld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ru-RU" sz="12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9"/>
            </p:custDataLst>
          </p:nvPr>
        </p:nvSpPr>
        <p:spPr bwMode="auto">
          <a:xfrm>
            <a:off x="2828925" y="3998913"/>
            <a:ext cx="1319213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Локализация МФЦ</a:t>
            </a:r>
            <a:endParaRPr lang="ru-RU" sz="12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Прямоугольник 34"/>
          <p:cNvSpPr/>
          <p:nvPr>
            <p:custDataLst>
              <p:tags r:id="rId10"/>
            </p:custDataLst>
          </p:nvPr>
        </p:nvSpPr>
        <p:spPr bwMode="auto">
          <a:xfrm>
            <a:off x="5256213" y="3998913"/>
            <a:ext cx="471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B6C95C1-1122-4C24-A352-3FC94DF0807D}" type="datetime'''9''.2''''1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9.21</a:t>
            </a:fld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ru-RU" sz="12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11"/>
            </p:custDataLst>
          </p:nvPr>
        </p:nvSpPr>
        <p:spPr bwMode="auto">
          <a:xfrm>
            <a:off x="1497013" y="3060700"/>
            <a:ext cx="265112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Программа «Москва для пешеходов»</a:t>
            </a:r>
            <a:endParaRPr lang="ru-RU" sz="12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12"/>
            </p:custDataLst>
          </p:nvPr>
        </p:nvSpPr>
        <p:spPr bwMode="auto">
          <a:xfrm>
            <a:off x="6227763" y="3060700"/>
            <a:ext cx="55562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99CCF93-11BC-4E0D-8602-3A6D15369A32}" type="datetime'''''''''''''1''''8''''''''.42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18.42</a:t>
            </a:fld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ru-RU" sz="12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13"/>
            </p:custDataLst>
          </p:nvPr>
        </p:nvSpPr>
        <p:spPr bwMode="auto">
          <a:xfrm>
            <a:off x="1657350" y="2117725"/>
            <a:ext cx="24907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Программа «Москва для </a:t>
            </a:r>
            <a:r>
              <a:rPr lang="ru-RU" sz="1200" dirty="0" err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экспатов</a:t>
            </a:r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»</a:t>
            </a:r>
            <a:endParaRPr lang="ru-RU" sz="12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4"/>
            </p:custDataLst>
          </p:nvPr>
        </p:nvSpPr>
        <p:spPr bwMode="auto">
          <a:xfrm>
            <a:off x="4970463" y="2117725"/>
            <a:ext cx="471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CFC34A7-16DD-4496-92D2-3B085AA08EF3}" type="datetime'''''6''''''''''''''''''''.''''''''''''''''''''5''''''''8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6.58</a:t>
            </a:fld>
            <a:r>
              <a:rPr lang="ru-RU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ru-RU" sz="12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15"/>
            </p:custDataLst>
          </p:nvPr>
        </p:nvSpPr>
        <p:spPr bwMode="auto">
          <a:xfrm>
            <a:off x="1171575" y="1082675"/>
            <a:ext cx="2976563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chemeClr val="tx1"/>
                </a:solidFill>
                <a:latin typeface="Arial" charset="0"/>
                <a:sym typeface="Arial" charset="0"/>
              </a:rPr>
              <a:t>Москва – пилотный проект по внедрению 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chemeClr val="tx1"/>
                </a:solidFill>
                <a:latin typeface="Arial" charset="0"/>
                <a:sym typeface="Arial" charset="0"/>
              </a:rPr>
              <a:t>е</a:t>
            </a:r>
            <a:r>
              <a:rPr lang="ru-RU" sz="1200" dirty="0" smtClean="0">
                <a:solidFill>
                  <a:schemeClr val="tx1"/>
                </a:solidFill>
                <a:latin typeface="Arial" charset="0"/>
                <a:sym typeface="Arial" charset="0"/>
              </a:rPr>
              <a:t>вропейских  стандартов </a:t>
            </a:r>
            <a:r>
              <a:rPr lang="ru-RU" sz="1200" dirty="0" err="1" smtClean="0">
                <a:solidFill>
                  <a:schemeClr val="tx1"/>
                </a:solidFill>
                <a:latin typeface="Arial" charset="0"/>
                <a:sym typeface="Arial" charset="0"/>
              </a:rPr>
              <a:t>урбанистики</a:t>
            </a:r>
            <a:endParaRPr lang="ru-RU" sz="1200" dirty="0" smtClean="0">
              <a:solidFill>
                <a:schemeClr val="tx1"/>
              </a:solidFill>
              <a:latin typeface="Arial" charset="0"/>
              <a:sym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48330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9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39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mBRg6H1kSnyWdLXxpz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gAI5QhxkGkdvQR6lf8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g3eSQxOk2ROAp5g32A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Ebp0nlFkGxcPnY.Tbm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ZhRVB3kWG_tQwoASK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nWvvX3RECvY_Ayl9g3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RoRDH0.0eiCDVbxscX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crUg2jrU.C6LitybBU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1vGct8pUaYp.I0qLck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DCCSxC0ECxbxAxbkXH_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C1rf66UWFjBbdXH6v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I4GcVZSUqpTfcYQscN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CkptnleEyv87KnL14X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8AAMy6UEC0c3R.fX7fl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8</TotalTime>
  <Words>53</Words>
  <Application>Microsoft Office PowerPoint</Application>
  <PresentationFormat>Экран (4:3)</PresentationFormat>
  <Paragraphs>14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Тема Office</vt:lpstr>
      <vt:lpstr>think-cell Slide</vt:lpstr>
      <vt:lpstr>Диаграмма</vt:lpstr>
      <vt:lpstr>Слайд 1</vt:lpstr>
    </vt:vector>
  </TitlesOfParts>
  <Company>Аналитический центр "Форум"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denisova</dc:creator>
  <cp:lastModifiedBy>Бакумов</cp:lastModifiedBy>
  <cp:revision>12</cp:revision>
  <dcterms:created xsi:type="dcterms:W3CDTF">2012-03-20T09:36:39Z</dcterms:created>
  <dcterms:modified xsi:type="dcterms:W3CDTF">2012-03-27T10:58:55Z</dcterms:modified>
</cp:coreProperties>
</file>